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8" autoAdjust="0"/>
    <p:restoredTop sz="94010" autoAdjust="0"/>
  </p:normalViewPr>
  <p:slideViewPr>
    <p:cSldViewPr>
      <p:cViewPr>
        <p:scale>
          <a:sx n="93" d="100"/>
          <a:sy n="93" d="100"/>
        </p:scale>
        <p:origin x="-1020" y="-6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5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5.png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2.xml"/><Relationship Id="rId7" Type="http://schemas.openxmlformats.org/officeDocument/2006/relationships/image" Target="../media/image16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5296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898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84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6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42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71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9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699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0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540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357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65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F4E35F00-3D22-4AE3-9BC8-DCEB0707C4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="" xmlns:a16="http://schemas.microsoft.com/office/drawing/2014/main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5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="" xmlns:a16="http://schemas.microsoft.com/office/drawing/2014/main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7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9003856E-8774-4B5D-A5D0-A2CE1C04D1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89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B0DB22AB-69EB-4A23-8BA7-3B16DB152F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="" xmlns:a16="http://schemas.microsoft.com/office/drawing/2014/main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6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="" xmlns:a16="http://schemas.microsoft.com/office/drawing/2014/main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="" xmlns:a16="http://schemas.microsoft.com/office/drawing/2014/main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86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23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5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577642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03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5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3130851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38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824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oleObject" Target="../embeddings/oleObject13.bin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8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val="7880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Презентация PowerPoint</vt:lpstr>
      <vt:lpstr> </vt:lpstr>
    </vt:vector>
  </TitlesOfParts>
  <Company>Россельхозбанк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Комп</cp:lastModifiedBy>
  <cp:revision>879</cp:revision>
  <cp:lastPrinted>2021-04-12T13:43:07Z</cp:lastPrinted>
  <dcterms:created xsi:type="dcterms:W3CDTF">2019-11-26T12:29:04Z</dcterms:created>
  <dcterms:modified xsi:type="dcterms:W3CDTF">2021-07-05T12:30:42Z</dcterms:modified>
</cp:coreProperties>
</file>